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mp" ContentType="image/png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  <p:sldMasterId id="2147483687" r:id="rId2"/>
  </p:sldMasterIdLst>
  <p:notesMasterIdLst>
    <p:notesMasterId r:id="rId7"/>
  </p:notesMasterIdLst>
  <p:sldIdLst>
    <p:sldId id="913" r:id="rId3"/>
    <p:sldId id="920" r:id="rId4"/>
    <p:sldId id="908" r:id="rId5"/>
    <p:sldId id="501" r:id="rId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64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0D1B1C"/>
    <a:srgbClr val="F9F9FB"/>
    <a:srgbClr val="091717"/>
    <a:srgbClr val="EFF5FB"/>
    <a:srgbClr val="EAEAEA"/>
    <a:srgbClr val="EAE9E9"/>
    <a:srgbClr val="EBE9E9"/>
    <a:srgbClr val="E8E8E8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820" autoAdjust="0"/>
    <p:restoredTop sz="94660"/>
  </p:normalViewPr>
  <p:slideViewPr>
    <p:cSldViewPr snapToGrid="0" showGuides="1">
      <p:cViewPr varScale="1">
        <p:scale>
          <a:sx n="64" d="100"/>
          <a:sy n="64" d="100"/>
        </p:scale>
        <p:origin x="340" y="40"/>
      </p:cViewPr>
      <p:guideLst>
        <p:guide orient="horz" pos="2137"/>
        <p:guide pos="6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641EA5-8D81-4E61-B37C-E5F6FBE76A41}" type="datetimeFigureOut">
              <a:rPr lang="nl-NL" smtClean="0"/>
              <a:t>21-4-20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BDAF0-FF71-49BA-A02E-FCC33DA3013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33482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7.png"/><Relationship Id="rId7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jp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jpeg"/><Relationship Id="rId4" Type="http://schemas.openxmlformats.org/officeDocument/2006/relationships/image" Target="../media/image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94E86-B79C-4D75-B9D3-F40725AAE3F1}" type="datetime1">
              <a:rPr lang="nl-NL" smtClean="0"/>
              <a:t>21-4-20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58860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3781E-BA7D-4E46-96F0-F56A3C6560F6}" type="datetime1">
              <a:rPr lang="nl-NL" smtClean="0"/>
              <a:t>21-4-20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2297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A12FE-7155-4583-81E2-79504A806A11}" type="datetime1">
              <a:rPr lang="nl-NL" smtClean="0"/>
              <a:t>21-4-20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3329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3"/>
            <a:ext cx="9907272" cy="4003197"/>
          </a:xfrm>
        </p:spPr>
        <p:txBody>
          <a:bodyPr>
            <a:normAutofit/>
          </a:bodyPr>
          <a:lstStyle>
            <a:lvl1pPr marL="612000" indent="-612000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0" y="650009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73A53F70-6EDA-470F-86EB-7A1A4FA43DA0}" type="datetime1">
              <a:rPr lang="nl-NL" smtClean="0">
                <a:solidFill>
                  <a:prstClr val="white"/>
                </a:solidFill>
              </a:rPr>
              <a:t>21-4-20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4" y="6500092"/>
            <a:ext cx="4716000" cy="221383"/>
          </a:xfrm>
        </p:spPr>
        <p:txBody>
          <a:bodyPr/>
          <a:lstStyle>
            <a:lvl1pPr marL="0" algn="ctr" defTabSz="914400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4826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three pictures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74" y="-1529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2000" rIns="0" anchor="ctr" anchorCtr="0">
            <a:normAutofit/>
          </a:bodyPr>
          <a:lstStyle>
            <a:lvl1pPr marL="0" indent="0" algn="ctr">
              <a:buNone/>
              <a:defRPr sz="14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CE0AF-7C6B-44B2-BE48-70B30A68DE8E}" type="datetime1">
              <a:rPr lang="nl-NL" smtClean="0">
                <a:solidFill>
                  <a:srgbClr val="808285"/>
                </a:solidFill>
              </a:rPr>
              <a:t>21-4-20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8112224" y="2934000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2000" rIns="0" anchor="ctr" anchorCtr="0">
            <a:normAutofit/>
          </a:bodyPr>
          <a:lstStyle>
            <a:lvl1pPr marL="0" indent="0" algn="ctr">
              <a:buNone/>
              <a:defRPr sz="14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112224" y="4892400"/>
            <a:ext cx="4086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2000" rIns="0" anchor="ctr" anchorCtr="0">
            <a:normAutofit/>
          </a:bodyPr>
          <a:lstStyle>
            <a:lvl1pPr marL="0" indent="0" algn="ctr">
              <a:buNone/>
              <a:defRPr sz="14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0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0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5" y="3284538"/>
            <a:ext cx="6453610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38"/>
            <a:ext cx="2106612" cy="1354138"/>
            <a:chOff x="-2231300" y="2231625"/>
            <a:chExt cx="2106943" cy="1353870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2308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0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0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696" y="2322792"/>
            <a:ext cx="1871662" cy="2769989"/>
            <a:chOff x="-2008947" y="2420888"/>
            <a:chExt cx="1871662" cy="2769989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2769989"/>
              <a:chOff x="9231313" y="2327275"/>
              <a:chExt cx="1871662" cy="2769989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27699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0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0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0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0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0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0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0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0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0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0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0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0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0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0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0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0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0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0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0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0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0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0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0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668279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21-4-20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6171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agenda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tx2"/>
              </a:buClr>
              <a:buFont typeface="+mj-lt"/>
              <a:buAutoNum type="arabicPeriod"/>
              <a:defRPr lang="en-US" sz="3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srgbClr val="808285"/>
                </a:solidFill>
              </a:rPr>
              <a:pPr/>
              <a:t>21-4-20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326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prstClr val="white"/>
                </a:solidFill>
              </a:rPr>
              <a:pPr/>
              <a:t>21-4-20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913873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hidden="1"/>
          <p:cNvSpPr/>
          <p:nvPr userDrawn="1"/>
        </p:nvSpPr>
        <p:spPr>
          <a:xfrm>
            <a:off x="191344" y="0"/>
            <a:ext cx="120006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03149B-AF7A-4C31-A1E6-E467BE34ECAC}" type="datetime1">
              <a:rPr lang="nl-NL">
                <a:solidFill>
                  <a:srgbClr val="808285"/>
                </a:solidFill>
              </a:rPr>
              <a:pPr/>
              <a:t>21-4-20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-2008948" y="2492905"/>
            <a:ext cx="1871663" cy="2388601"/>
            <a:chOff x="-2008947" y="2420888"/>
            <a:chExt cx="1871662" cy="2388601"/>
          </a:xfrm>
        </p:grpSpPr>
        <p:grpSp>
          <p:nvGrpSpPr>
            <p:cNvPr id="12" name="Gruppe 1"/>
            <p:cNvGrpSpPr/>
            <p:nvPr userDrawn="1"/>
          </p:nvGrpSpPr>
          <p:grpSpPr>
            <a:xfrm>
              <a:off x="-2008947" y="2420888"/>
              <a:ext cx="1871662" cy="2388601"/>
              <a:chOff x="9231313" y="2327275"/>
              <a:chExt cx="1871662" cy="2388601"/>
            </a:xfrm>
          </p:grpSpPr>
          <p:sp>
            <p:nvSpPr>
              <p:cNvPr id="13" name="TextBox 12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2369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</p:txBody>
          </p:sp>
          <p:grpSp>
            <p:nvGrpSpPr>
              <p:cNvPr id="15" name="Gruppe 1"/>
              <p:cNvGrpSpPr>
                <a:grpSpLocks/>
              </p:cNvGrpSpPr>
              <p:nvPr userDrawn="1"/>
            </p:nvGrpSpPr>
            <p:grpSpPr bwMode="auto">
              <a:xfrm>
                <a:off x="10746863" y="4366081"/>
                <a:ext cx="331789" cy="349795"/>
                <a:chOff x="9828712" y="5849458"/>
                <a:chExt cx="331633" cy="350460"/>
              </a:xfrm>
            </p:grpSpPr>
            <p:pic>
              <p:nvPicPr>
                <p:cNvPr id="17" name="Picture 16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42242" y="5856367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8" name="Rounded Rectangle 17"/>
                <p:cNvSpPr/>
                <p:nvPr userDrawn="1"/>
              </p:nvSpPr>
              <p:spPr>
                <a:xfrm>
                  <a:off x="9828712" y="5849458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554236" y="3367625"/>
              <a:ext cx="399068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52430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8" y="1504951"/>
            <a:ext cx="1056639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10566400" cy="504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9921875" cy="30718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A895DE-A2D9-46A4-B2C3-419086917E39}" type="datetime1">
              <a:rPr lang="nl-NL">
                <a:solidFill>
                  <a:srgbClr val="808285"/>
                </a:solidFill>
              </a:rPr>
              <a:pPr/>
              <a:t>21-4-20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0" name="Preview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11" name="Group 10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2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1" name="Billed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196753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7799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4576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F30495-015D-4DFE-AFC6-CC066761195C}" type="datetime1">
              <a:rPr lang="nl-NL">
                <a:solidFill>
                  <a:srgbClr val="808285"/>
                </a:solidFill>
              </a:rPr>
              <a:pPr/>
              <a:t>21-4-20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6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7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6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7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8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9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8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43005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94FC5-2727-4393-AC2E-072913F51141}" type="datetime1">
              <a:rPr lang="nl-NL" smtClean="0"/>
              <a:t>21-4-20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928984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7437" y="971999"/>
            <a:ext cx="6029363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FontTx/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71F40-BF41-4E30-BF4C-DBCF44B4E092}" type="datetime1">
              <a:rPr lang="nl-NL">
                <a:solidFill>
                  <a:srgbClr val="808285"/>
                </a:solidFill>
              </a:rPr>
              <a:pPr/>
              <a:t>21-4-20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2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3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4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5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1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12102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21-4-20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8112224" y="2934003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112224" y="4892400"/>
            <a:ext cx="4086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99221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6800" y="971999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21-4-20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166800" y="2934003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6166800" y="4892400"/>
            <a:ext cx="6030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49" y="1504951"/>
            <a:ext cx="5079600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49" y="1989212"/>
            <a:ext cx="507960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5" y="3284539"/>
            <a:ext cx="4442400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08922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51" y="972008"/>
            <a:ext cx="5739524" cy="5886001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298577" y="1504954"/>
            <a:ext cx="4443275" cy="1202962"/>
          </a:xfrm>
          <a:blipFill>
            <a:blip r:embed="rId3"/>
            <a:stretch>
              <a:fillRect/>
            </a:stretch>
          </a:blipFill>
        </p:spPr>
        <p:txBody>
          <a:bodyPr bIns="215968">
            <a:sp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6299056" tIns="0" rIns="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</a:t>
            </a:r>
            <a:br>
              <a:rPr lang="en-GB" noProof="0" dirty="0"/>
            </a:br>
            <a:r>
              <a:rPr lang="en-GB" noProof="0" dirty="0"/>
              <a:t>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6EE5-91D8-4496-8B28-AFF451BBF785}" type="datetime1">
              <a:rPr lang="nl-NL">
                <a:solidFill>
                  <a:srgbClr val="808285"/>
                </a:solidFill>
              </a:rPr>
              <a:pPr/>
              <a:t>21-4-20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5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7" name="Group 16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3" name="Picture 22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4" name="Rounded Rectangle 23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9" name="Group 18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ectangle 20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2" name="Rounded Rectangle 21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20000" y="1"/>
            <a:ext cx="2287143" cy="1285875"/>
          </a:xfrm>
          <a:prstGeom prst="rect">
            <a:avLst/>
          </a:prstGeom>
        </p:spPr>
      </p:pic>
      <p:grpSp>
        <p:nvGrpSpPr>
          <p:cNvPr id="27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8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0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1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2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3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9" name="Picture 30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71024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White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1" y="2404088"/>
            <a:ext cx="11144851" cy="3041136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2772656"/>
            <a:ext cx="2705645" cy="2304000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979333" y="2772655"/>
            <a:ext cx="6293131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3688389" y="2775740"/>
            <a:ext cx="14400" cy="23040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611907" rIns="0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80DB5D-ED7A-4FCA-9F48-607B9766E806}" type="datetime1">
              <a:rPr lang="nl-NL">
                <a:solidFill>
                  <a:srgbClr val="808285"/>
                </a:solidFill>
              </a:rPr>
              <a:pPr/>
              <a:t>21-4-20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143" cy="1285875"/>
          </a:xfrm>
          <a:prstGeom prst="rect">
            <a:avLst/>
          </a:prstGeom>
        </p:spPr>
      </p:pic>
      <p:grpSp>
        <p:nvGrpSpPr>
          <p:cNvPr id="1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23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24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25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6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2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92937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3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49" y="3794561"/>
            <a:ext cx="11144851" cy="3070800"/>
          </a:xfrm>
          <a:blipFill>
            <a:blip r:embed="rId2"/>
            <a:stretch>
              <a:fillRect/>
            </a:stretch>
          </a:blipFill>
        </p:spPr>
        <p:txBody>
          <a:bodyPr lIns="0"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1298576" y="4269819"/>
            <a:ext cx="2705645" cy="2090639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622809" y="4269809"/>
            <a:ext cx="6271279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4326943" y="4269811"/>
            <a:ext cx="14400" cy="20916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0" rIns="0" bIns="683902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2C737-C459-4647-8958-BB59048C64D8}" type="datetime1">
              <a:rPr lang="nl-NL">
                <a:solidFill>
                  <a:srgbClr val="808285"/>
                </a:solidFill>
              </a:rPr>
              <a:pPr/>
              <a:t>21-4-20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413" cy="1286027"/>
          </a:xfrm>
          <a:prstGeom prst="rect">
            <a:avLst/>
          </a:prstGeom>
        </p:spPr>
      </p:pic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70089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67439" y="972009"/>
            <a:ext cx="5053012" cy="538435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A51CE-F505-41EA-8663-BD227B542C44}" type="datetime1">
              <a:rPr lang="nl-NL">
                <a:solidFill>
                  <a:srgbClr val="808285"/>
                </a:solidFill>
              </a:rPr>
              <a:pPr/>
              <a:t>21-4-20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2" name="Group 11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3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2317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9" y="1504951"/>
            <a:ext cx="10566399" cy="576000"/>
          </a:xfrm>
        </p:spPr>
        <p:txBody>
          <a:bodyPr>
            <a:norm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54051" y="2880253"/>
            <a:ext cx="10566400" cy="3476099"/>
          </a:xfrm>
        </p:spPr>
        <p:txBody>
          <a:bodyPr>
            <a:normAutofit/>
          </a:bodyPr>
          <a:lstStyle>
            <a:lvl1pPr marL="287947" indent="-287947">
              <a:buClr>
                <a:schemeClr val="accent1"/>
              </a:buClr>
              <a:buFont typeface="Arial" panose="020B0604020202020204" pitchFamily="34" charset="0"/>
              <a:buChar char="•"/>
              <a:defRPr baseline="0"/>
            </a:lvl1pPr>
            <a:lvl2pPr marL="575902" indent="-287947">
              <a:buFont typeface="Arial" panose="020B0604020202020204" pitchFamily="34" charset="0"/>
              <a:buChar char="–"/>
              <a:defRPr/>
            </a:lvl2pPr>
            <a:lvl3pPr marL="611891" indent="-287947">
              <a:spcAft>
                <a:spcPts val="600"/>
              </a:spcAft>
              <a:defRPr lang="en-GB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3850" indent="-287947">
              <a:defRPr/>
            </a:lvl4pPr>
            <a:lvl5pPr marL="1079813" indent="-287947">
              <a:defRPr sz="1600"/>
            </a:lvl5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DCD442-54C2-44B3-900E-8C29E40D0605}" type="datetime1">
              <a:rPr lang="nl-NL">
                <a:solidFill>
                  <a:srgbClr val="808285"/>
                </a:solidFill>
              </a:rPr>
              <a:pPr/>
              <a:t>21-4-20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0" name="Group 9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1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2" name="Group 11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ounded Rectangle 17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3" name="Group 12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4" name="Picture 13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5" name="Rectangle 14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6" name="Rounded Rectangle 15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847402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F10B9-E8C5-4220-9572-2C6F9C10A021}" type="datetime1">
              <a:rPr lang="nl-NL">
                <a:solidFill>
                  <a:srgbClr val="808285"/>
                </a:solidFill>
              </a:rPr>
              <a:pPr/>
              <a:t>21-4-20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7714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26CE3C-B761-42CF-86FA-495C803B9E35}" type="datetime1">
              <a:rPr lang="nl-NL">
                <a:solidFill>
                  <a:srgbClr val="808285"/>
                </a:solidFill>
              </a:rPr>
              <a:pPr/>
              <a:t>21-4-20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6475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4C5B3-48EC-44AD-A311-D69CCB98B979}" type="datetime1">
              <a:rPr lang="nl-NL" smtClean="0"/>
              <a:t>21-4-20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49743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9019" y="1676404"/>
            <a:ext cx="11199280" cy="45497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71604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1055439" y="6421441"/>
            <a:ext cx="2375268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 dirty="0">
                <a:solidFill>
                  <a:srgbClr val="C7C2BA"/>
                </a:solidFill>
              </a:rPr>
              <a:t>24 June 2014</a:t>
            </a:r>
            <a:endParaRPr dirty="0">
              <a:solidFill>
                <a:srgbClr val="C7C2BA"/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3430709" y="6421441"/>
            <a:ext cx="3992443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dirty="0">
              <a:solidFill>
                <a:srgbClr val="C7C2BA"/>
              </a:solidFill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>
          <a:xfrm>
            <a:off x="566457" y="6421441"/>
            <a:ext cx="541867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C2C257-330F-409C-BC18-18554D16EFA6}" type="slidenum">
              <a:rPr lang="en-GB">
                <a:solidFill>
                  <a:srgbClr val="C7C2BA"/>
                </a:solidFill>
              </a:rPr>
              <a:pPr/>
              <a:t>‹nr.›</a:t>
            </a:fld>
            <a:endParaRPr lang="en-GB" dirty="0">
              <a:solidFill>
                <a:srgbClr val="C7C2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5602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21-4-20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9286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CBBAC-3E82-4329-AD57-5F5421B1D542}" type="datetimeFigureOut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21-4-2019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666E3-8817-4F6D-84CF-FEFBEEF18CEC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889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6AD7E-E0E1-4053-ADD2-94FC7562D71A}" type="datetime1">
              <a:rPr lang="nl-NL" smtClean="0"/>
              <a:t>21-4-20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96027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A8A03-540A-4982-8BAD-819FE85262BB}" type="datetime1">
              <a:rPr lang="nl-NL" smtClean="0"/>
              <a:t>21-4-2019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069898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DC6BC-43CE-42A3-85C5-771B7F4CD4E7}" type="datetime1">
              <a:rPr lang="nl-NL" smtClean="0"/>
              <a:t>21-4-2019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40732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73EF3A-00A6-40C1-9701-754F18A6858C}" type="datetime1">
              <a:rPr lang="nl-NL" smtClean="0"/>
              <a:t>21-4-2019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594960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01EB89-2A3A-40C3-9C36-F4881D3E47DB}" type="datetime1">
              <a:rPr lang="nl-NL" smtClean="0"/>
              <a:t>21-4-20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98776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CEB182-B990-4126-A3D4-1F15EFF531BB}" type="datetime1">
              <a:rPr lang="nl-NL" smtClean="0"/>
              <a:t>21-4-20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54649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041EA1-C323-4154-8D89-7EBAC74374F2}" type="datetime1">
              <a:rPr lang="nl-NL" smtClean="0"/>
              <a:t>21-4-20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18615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734" r:id="rId12"/>
    <p:sldLayoutId id="2147483738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ray line"/>
          <p:cNvCxnSpPr/>
          <p:nvPr/>
        </p:nvCxnSpPr>
        <p:spPr>
          <a:xfrm>
            <a:off x="0" y="966509"/>
            <a:ext cx="12192000" cy="0"/>
          </a:xfrm>
          <a:prstGeom prst="line">
            <a:avLst/>
          </a:prstGeom>
          <a:ln w="12700">
            <a:solidFill>
              <a:srgbClr val="BCBE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4060" y="439383"/>
            <a:ext cx="9439433" cy="216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GB" dirty="0"/>
              <a:t>Click to add section tit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09353" y="3284539"/>
            <a:ext cx="9911099" cy="30548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add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68451" y="6500102"/>
            <a:ext cx="2052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E671F69-0F33-4019-8C50-CCF23F7BDFC9}" type="datetime1">
              <a:rPr lang="nl-NL">
                <a:solidFill>
                  <a:srgbClr val="808285"/>
                </a:solidFill>
              </a:rPr>
              <a:pPr/>
              <a:t>21-4-20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42313" y="6500102"/>
            <a:ext cx="4716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lang="en-GB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5184" y="6500092"/>
            <a:ext cx="504056" cy="2213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7" name="Red box"/>
          <p:cNvSpPr/>
          <p:nvPr/>
        </p:nvSpPr>
        <p:spPr>
          <a:xfrm>
            <a:off x="0" y="0"/>
            <a:ext cx="68400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13" name="TOYOTA Logo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7733" y="207126"/>
            <a:ext cx="1358851" cy="565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533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</p:sldLayoutIdLst>
  <p:hf hdr="0" ftr="0" dt="0"/>
  <p:txStyles>
    <p:titleStyle>
      <a:lvl1pPr algn="l" defTabSz="914241" rtl="0" eaLnBrk="1" latinLnBrk="0" hangingPunct="1">
        <a:lnSpc>
          <a:spcPct val="90000"/>
        </a:lnSpc>
        <a:spcBef>
          <a:spcPct val="0"/>
        </a:spcBef>
        <a:buNone/>
        <a:defRPr sz="1500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7947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–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2" panose="05020102010507070707" pitchFamily="18" charset="2"/>
        <a:buChar char=""/>
        <a:defRPr lang="en-GB" sz="2000" b="0" kern="1200" noProof="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8638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4pPr>
      <a:lvl5pPr marL="1151802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5pPr>
      <a:lvl6pPr marL="143974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6pPr>
      <a:lvl7pPr marL="1727695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7pPr>
      <a:lvl8pPr marL="20156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230359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GB" sz="1900" kern="120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1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6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7068">
          <p15:clr>
            <a:srgbClr val="F26B43"/>
          </p15:clr>
        </p15:guide>
        <p15:guide id="4" pos="818">
          <p15:clr>
            <a:srgbClr val="F26B43"/>
          </p15:clr>
        </p15:guide>
        <p15:guide id="5" pos="412">
          <p15:clr>
            <a:srgbClr val="F26B43"/>
          </p15:clr>
        </p15:guide>
        <p15:guide id="7" orient="horz" pos="275">
          <p15:clr>
            <a:srgbClr val="F26B43"/>
          </p15:clr>
        </p15:guide>
        <p15:guide id="8" orient="horz" pos="4004">
          <p15:clr>
            <a:srgbClr val="F26B43"/>
          </p15:clr>
        </p15:guide>
        <p15:guide id="9" orient="horz" pos="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hyperlink" Target="https://www.youtube.com/watch?time_continue=3&amp;v=mOO8V1uZXJM" TargetMode="Externa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4.tmp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18" Type="http://schemas.openxmlformats.org/officeDocument/2006/relationships/image" Target="../media/image4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17" Type="http://schemas.openxmlformats.org/officeDocument/2006/relationships/image" Target="../media/image40.png"/><Relationship Id="rId2" Type="http://schemas.openxmlformats.org/officeDocument/2006/relationships/image" Target="../media/image25.png"/><Relationship Id="rId16" Type="http://schemas.openxmlformats.org/officeDocument/2006/relationships/image" Target="../media/image3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5" Type="http://schemas.openxmlformats.org/officeDocument/2006/relationships/image" Target="../media/image38.png"/><Relationship Id="rId10" Type="http://schemas.openxmlformats.org/officeDocument/2006/relationships/image" Target="../media/image33.jpeg"/><Relationship Id="rId19" Type="http://schemas.openxmlformats.org/officeDocument/2006/relationships/image" Target="../media/image42.png"/><Relationship Id="rId4" Type="http://schemas.openxmlformats.org/officeDocument/2006/relationships/image" Target="../media/image27.png"/><Relationship Id="rId9" Type="http://schemas.openxmlformats.org/officeDocument/2006/relationships/image" Target="../media/image32.jpeg"/><Relationship Id="rId14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4472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9A121568-DF1F-4045-B01E-AF3ADD2DE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85994"/>
            <a:ext cx="12192000" cy="4003197"/>
          </a:xfrm>
        </p:spPr>
        <p:txBody>
          <a:bodyPr/>
          <a:lstStyle/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r>
              <a:rPr lang="nl-NL" b="1" dirty="0" err="1"/>
              <a:t>Milkrun</a:t>
            </a:r>
            <a:r>
              <a:rPr lang="nl-NL" b="1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780393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 descr="Afbeelding met weg, gebouw, binnen, vrachtwagen&#10;&#10;Automatisch gegenereerde beschrijving">
            <a:hlinkClick r:id="rId2"/>
            <a:extLst>
              <a:ext uri="{FF2B5EF4-FFF2-40B4-BE49-F238E27FC236}">
                <a16:creationId xmlns:a16="http://schemas.microsoft.com/office/drawing/2014/main" id="{85939218-323B-4C99-A1EE-F2A6A8E7A91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34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1235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45845E-F75A-4DC1-BE2A-FAACBE9FCA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-21965"/>
            <a:ext cx="10515600" cy="1325563"/>
          </a:xfrm>
        </p:spPr>
        <p:txBody>
          <a:bodyPr/>
          <a:lstStyle/>
          <a:p>
            <a:r>
              <a:rPr lang="nl-NL" dirty="0" err="1"/>
              <a:t>Milkrun</a:t>
            </a:r>
            <a:endParaRPr lang="nl-NL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785CECE6-969A-4AAB-B6AC-7144E358A7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4050" y="1420869"/>
            <a:ext cx="7098133" cy="468000"/>
          </a:xfrm>
        </p:spPr>
        <p:txBody>
          <a:bodyPr>
            <a:normAutofit lnSpcReduction="10000"/>
          </a:bodyPr>
          <a:lstStyle/>
          <a:p>
            <a:r>
              <a:rPr lang="nl-NL" dirty="0"/>
              <a:t>Flexibel en schaalbaar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4CBAD526-FA67-4F2D-8B9E-A18F937F5C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4050" y="1905130"/>
            <a:ext cx="7098135" cy="504000"/>
          </a:xfrm>
        </p:spPr>
        <p:txBody>
          <a:bodyPr>
            <a:normAutofit lnSpcReduction="10000"/>
          </a:bodyPr>
          <a:lstStyle/>
          <a:p>
            <a:r>
              <a:rPr lang="nl-NL" dirty="0"/>
              <a:t>Waterstof tankwagen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79BD0512-1F86-434A-BC5F-4B5ED5A8B1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4894" y="2745971"/>
            <a:ext cx="5939685" cy="3071812"/>
          </a:xfrm>
        </p:spPr>
        <p:txBody>
          <a:bodyPr/>
          <a:lstStyle/>
          <a:p>
            <a:r>
              <a:rPr lang="nl-NL" sz="2000" dirty="0"/>
              <a:t>Thuisbezorging: Op locatie gebruiker tanken. Bijvoorbeeld:</a:t>
            </a:r>
          </a:p>
          <a:p>
            <a:pPr lvl="1"/>
            <a:r>
              <a:rPr lang="nl-NL" sz="2000" dirty="0"/>
              <a:t>Distributiecentra.</a:t>
            </a:r>
          </a:p>
          <a:p>
            <a:pPr lvl="1"/>
            <a:r>
              <a:rPr lang="nl-NL" sz="2000" dirty="0"/>
              <a:t>Wegenbouw in remote </a:t>
            </a:r>
            <a:r>
              <a:rPr lang="nl-NL" sz="2000" dirty="0" err="1"/>
              <a:t>areas</a:t>
            </a:r>
            <a:r>
              <a:rPr lang="nl-NL" sz="2000" dirty="0"/>
              <a:t>.</a:t>
            </a:r>
          </a:p>
          <a:p>
            <a:pPr lvl="1"/>
            <a:r>
              <a:rPr lang="nl-NL" sz="2000" dirty="0"/>
              <a:t>Pech onder weg</a:t>
            </a:r>
          </a:p>
          <a:p>
            <a:pPr lvl="1"/>
            <a:r>
              <a:rPr lang="nl-NL" sz="2000" dirty="0"/>
              <a:t>Convenience</a:t>
            </a:r>
          </a:p>
          <a:p>
            <a:pPr lvl="1"/>
            <a:r>
              <a:rPr lang="nl-NL" sz="2000" dirty="0"/>
              <a:t>…</a:t>
            </a:r>
          </a:p>
          <a:p>
            <a:r>
              <a:rPr lang="nl-NL" sz="2000" b="1" dirty="0">
                <a:solidFill>
                  <a:srgbClr val="C00000"/>
                </a:solidFill>
              </a:rPr>
              <a:t>Om de transitie te versnellen</a:t>
            </a:r>
            <a:r>
              <a:rPr lang="nl-NL" sz="2000" b="1" dirty="0"/>
              <a:t>.</a:t>
            </a:r>
          </a:p>
        </p:txBody>
      </p:sp>
      <p:pic>
        <p:nvPicPr>
          <p:cNvPr id="25" name="Tijdelijke aanduiding voor afbeelding 24">
            <a:extLst>
              <a:ext uri="{FF2B5EF4-FFF2-40B4-BE49-F238E27FC236}">
                <a16:creationId xmlns:a16="http://schemas.microsoft.com/office/drawing/2014/main" id="{E0BA3247-8A0F-4224-A01B-4FCAA56C1225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1" t="8881" r="1898" b="-326"/>
          <a:stretch/>
        </p:blipFill>
        <p:spPr>
          <a:xfrm>
            <a:off x="6096000" y="230730"/>
            <a:ext cx="5833241" cy="3023634"/>
          </a:xfrm>
          <a:prstGeom prst="rect">
            <a:avLst/>
          </a:prstGeom>
          <a:solidFill>
            <a:srgbClr val="FFFFFF">
              <a:shade val="85000"/>
            </a:srgbClr>
          </a:solidFill>
          <a:ln w="6350" cap="sq">
            <a:solidFill>
              <a:schemeClr val="tx1">
                <a:lumMod val="50000"/>
                <a:lumOff val="50000"/>
              </a:schemeClr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" name="Afbeelding 5" descr="Afbeelding met weg, gebouw, binnen, vrachtwagen&#10;&#10;Automatisch gegenereerde beschrijving">
            <a:extLst>
              <a:ext uri="{FF2B5EF4-FFF2-40B4-BE49-F238E27FC236}">
                <a16:creationId xmlns:a16="http://schemas.microsoft.com/office/drawing/2014/main" id="{2FB32EED-3A4F-4FAF-9713-8AE80E326C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509759"/>
            <a:ext cx="5833241" cy="3238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5066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>
            <a:extLst>
              <a:ext uri="{FF2B5EF4-FFF2-40B4-BE49-F238E27FC236}">
                <a16:creationId xmlns:a16="http://schemas.microsoft.com/office/drawing/2014/main" id="{E4080187-EA53-436C-A668-1734B7EE132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59" b="14772"/>
          <a:stretch/>
        </p:blipFill>
        <p:spPr>
          <a:xfrm flipH="1">
            <a:off x="1518983" y="1076575"/>
            <a:ext cx="9588501" cy="4704850"/>
          </a:xfrm>
          <a:prstGeom prst="rect">
            <a:avLst/>
          </a:prstGeom>
        </p:spPr>
      </p:pic>
      <p:pic>
        <p:nvPicPr>
          <p:cNvPr id="12" name="Afbeelding 11">
            <a:extLst>
              <a:ext uri="{FF2B5EF4-FFF2-40B4-BE49-F238E27FC236}">
                <a16:creationId xmlns:a16="http://schemas.microsoft.com/office/drawing/2014/main" id="{A32D44C7-B4EE-42C4-BA3B-A8CAD1E767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4063" y="2659247"/>
            <a:ext cx="1027660" cy="769753"/>
          </a:xfrm>
          <a:prstGeom prst="rect">
            <a:avLst/>
          </a:prstGeom>
        </p:spPr>
      </p:pic>
      <p:sp>
        <p:nvSpPr>
          <p:cNvPr id="3" name="Tekstvak 2">
            <a:extLst>
              <a:ext uri="{FF2B5EF4-FFF2-40B4-BE49-F238E27FC236}">
                <a16:creationId xmlns:a16="http://schemas.microsoft.com/office/drawing/2014/main" id="{30ACDF25-A093-4B03-96B0-9640274C19F4}"/>
              </a:ext>
            </a:extLst>
          </p:cNvPr>
          <p:cNvSpPr txBox="1"/>
          <p:nvPr/>
        </p:nvSpPr>
        <p:spPr>
          <a:xfrm>
            <a:off x="5826656" y="2874846"/>
            <a:ext cx="28176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nl-NL" sz="2000" dirty="0">
                <a:solidFill>
                  <a:schemeClr val="tx2"/>
                </a:solidFill>
                <a:latin typeface="Impact" panose="020B0806030902050204" pitchFamily="34" charset="0"/>
              </a:rPr>
              <a:t>Mobile </a:t>
            </a:r>
            <a:r>
              <a:rPr lang="nl-NL" sz="2000" dirty="0" err="1">
                <a:solidFill>
                  <a:schemeClr val="tx2"/>
                </a:solidFill>
                <a:latin typeface="Impact" panose="020B0806030902050204" pitchFamily="34" charset="0"/>
              </a:rPr>
              <a:t>Refueling</a:t>
            </a:r>
            <a:r>
              <a:rPr lang="nl-NL" sz="2000" dirty="0">
                <a:solidFill>
                  <a:schemeClr val="tx2"/>
                </a:solidFill>
                <a:latin typeface="Impact" panose="020B0806030902050204" pitchFamily="34" charset="0"/>
              </a:rPr>
              <a:t> Station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6A44754D-D77A-4856-A92A-CCC85584A3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98805" y="1658303"/>
            <a:ext cx="1081822" cy="508128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E01E4642-065F-4857-9D2D-C3CFD28FD97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58537" y="1607957"/>
            <a:ext cx="1149977" cy="508129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C297E057-D04B-4CED-BF12-8EE77FDE96D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22864" y="1683914"/>
            <a:ext cx="826939" cy="327180"/>
          </a:xfrm>
          <a:prstGeom prst="rect">
            <a:avLst/>
          </a:prstGeom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B5A933D8-A76A-4827-8177-CAB63E597B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18475" y="3864271"/>
            <a:ext cx="646760" cy="484446"/>
          </a:xfrm>
          <a:prstGeom prst="rect">
            <a:avLst/>
          </a:prstGeom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D8274C57-0285-4C52-809D-C5473C35063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51740" y="1575170"/>
            <a:ext cx="718211" cy="644817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8AC5DDF9-5E14-459A-A430-C2EF0164947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29549" y="1688915"/>
            <a:ext cx="1053939" cy="362407"/>
          </a:xfrm>
          <a:prstGeom prst="rect">
            <a:avLst/>
          </a:prstGeom>
        </p:spPr>
      </p:pic>
      <p:pic>
        <p:nvPicPr>
          <p:cNvPr id="6146" name="Picture 2" descr="Image result for acv ede">
            <a:extLst>
              <a:ext uri="{FF2B5EF4-FFF2-40B4-BE49-F238E27FC236}">
                <a16:creationId xmlns:a16="http://schemas.microsoft.com/office/drawing/2014/main" id="{E9B7BFD2-FDA1-44D7-B435-90EA374C3F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2855" y="1575170"/>
            <a:ext cx="602769" cy="602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Image result for logo provincie gelderland">
            <a:extLst>
              <a:ext uri="{FF2B5EF4-FFF2-40B4-BE49-F238E27FC236}">
                <a16:creationId xmlns:a16="http://schemas.microsoft.com/office/drawing/2014/main" id="{D291AA3B-4CFA-404D-810E-EA508B28C8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2052" y="2945876"/>
            <a:ext cx="1149977" cy="526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Image result for logo gemeente Ede">
            <a:extLst>
              <a:ext uri="{FF2B5EF4-FFF2-40B4-BE49-F238E27FC236}">
                <a16:creationId xmlns:a16="http://schemas.microsoft.com/office/drawing/2014/main" id="{A67F7892-1211-4812-A991-BE17881DB9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2869" y="3013796"/>
            <a:ext cx="417985" cy="397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Image result for logo shell">
            <a:extLst>
              <a:ext uri="{FF2B5EF4-FFF2-40B4-BE49-F238E27FC236}">
                <a16:creationId xmlns:a16="http://schemas.microsoft.com/office/drawing/2014/main" id="{EA97A683-D22C-4351-818A-23B37085D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5596" y="4156996"/>
            <a:ext cx="253581" cy="235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Afbeelding 16">
            <a:extLst>
              <a:ext uri="{FF2B5EF4-FFF2-40B4-BE49-F238E27FC236}">
                <a16:creationId xmlns:a16="http://schemas.microsoft.com/office/drawing/2014/main" id="{13D0C0B8-5A9B-4FC0-A91A-493F6B0F207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352566" y="2471862"/>
            <a:ext cx="461032" cy="913566"/>
          </a:xfrm>
          <a:prstGeom prst="rect">
            <a:avLst/>
          </a:prstGeom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43650D51-69EC-4337-AEAB-FD6515D198E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857963" y="4128399"/>
            <a:ext cx="805999" cy="303901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B4AF8E35-7002-4BB8-BAE0-A296D32A7CC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284598" y="4138708"/>
            <a:ext cx="547917" cy="257254"/>
          </a:xfrm>
          <a:prstGeom prst="rect">
            <a:avLst/>
          </a:prstGeom>
        </p:spPr>
      </p:pic>
      <p:pic>
        <p:nvPicPr>
          <p:cNvPr id="25" name="Afbeelding 24">
            <a:extLst>
              <a:ext uri="{FF2B5EF4-FFF2-40B4-BE49-F238E27FC236}">
                <a16:creationId xmlns:a16="http://schemas.microsoft.com/office/drawing/2014/main" id="{184AF0C3-6A0C-4F64-80F8-E7900AF8002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392565" y="4176872"/>
            <a:ext cx="806000" cy="220602"/>
          </a:xfrm>
          <a:prstGeom prst="rect">
            <a:avLst/>
          </a:prstGeom>
        </p:spPr>
      </p:pic>
      <p:pic>
        <p:nvPicPr>
          <p:cNvPr id="6154" name="Picture 10" descr="Image result for toyota logo">
            <a:extLst>
              <a:ext uri="{FF2B5EF4-FFF2-40B4-BE49-F238E27FC236}">
                <a16:creationId xmlns:a16="http://schemas.microsoft.com/office/drawing/2014/main" id="{E5915DC3-EF09-4678-9DE1-D8E9849A48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524" y="4225629"/>
            <a:ext cx="596942" cy="109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Afbeelding 26">
            <a:extLst>
              <a:ext uri="{FF2B5EF4-FFF2-40B4-BE49-F238E27FC236}">
                <a16:creationId xmlns:a16="http://schemas.microsoft.com/office/drawing/2014/main" id="{FD86F453-1D09-4BF0-B623-E84964D926F5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324694" y="4193756"/>
            <a:ext cx="737054" cy="179912"/>
          </a:xfrm>
          <a:prstGeom prst="rect">
            <a:avLst/>
          </a:prstGeom>
        </p:spPr>
      </p:pic>
      <p:pic>
        <p:nvPicPr>
          <p:cNvPr id="28" name="Afbeelding 27">
            <a:extLst>
              <a:ext uri="{FF2B5EF4-FFF2-40B4-BE49-F238E27FC236}">
                <a16:creationId xmlns:a16="http://schemas.microsoft.com/office/drawing/2014/main" id="{27BDAF8E-9B84-4E84-965C-49BE33ECA17B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347597" y="3946587"/>
            <a:ext cx="677021" cy="451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9896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Kantoorth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th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Blank">
  <a:themeElements>
    <a:clrScheme name="TOYOTA">
      <a:dk1>
        <a:srgbClr val="808285"/>
      </a:dk1>
      <a:lt1>
        <a:sysClr val="window" lastClr="FFFFFF"/>
      </a:lt1>
      <a:dk2>
        <a:srgbClr val="2C2A29"/>
      </a:dk2>
      <a:lt2>
        <a:srgbClr val="F37934"/>
      </a:lt2>
      <a:accent1>
        <a:srgbClr val="C8102E"/>
      </a:accent1>
      <a:accent2>
        <a:srgbClr val="808285"/>
      </a:accent2>
      <a:accent3>
        <a:srgbClr val="426BBA"/>
      </a:accent3>
      <a:accent4>
        <a:srgbClr val="62C751"/>
      </a:accent4>
      <a:accent5>
        <a:srgbClr val="FAC51C"/>
      </a:accent5>
      <a:accent6>
        <a:srgbClr val="A38F84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8000" indent="-288000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OYOTA PowerPoint Template.potx" id="{D5C932C4-C28F-4A18-B124-1CFF9D26AF7C}" vid="{15895572-C49F-4D92-83D6-1782D5766C7F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</TotalTime>
  <Words>38</Words>
  <Application>Microsoft Office PowerPoint</Application>
  <PresentationFormat>Breedbeeld</PresentationFormat>
  <Paragraphs>14</Paragraphs>
  <Slides>4</Slides>
  <Notes>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4</vt:i4>
      </vt:variant>
    </vt:vector>
  </HeadingPairs>
  <TitlesOfParts>
    <vt:vector size="13" baseType="lpstr">
      <vt:lpstr>Arial</vt:lpstr>
      <vt:lpstr>Calibri</vt:lpstr>
      <vt:lpstr>Calibri Light</vt:lpstr>
      <vt:lpstr>HelveticaNeueLT Std Lt Cn</vt:lpstr>
      <vt:lpstr>Impact</vt:lpstr>
      <vt:lpstr>Wingdings 2</vt:lpstr>
      <vt:lpstr>Office Theme</vt:lpstr>
      <vt:lpstr>6_Blank</vt:lpstr>
      <vt:lpstr>think-cell Slide</vt:lpstr>
      <vt:lpstr>PowerPoint-presentatie</vt:lpstr>
      <vt:lpstr>PowerPoint-presentatie</vt:lpstr>
      <vt:lpstr>Milkrun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Willem Stehouwer</dc:creator>
  <cp:lastModifiedBy>Willem Stehouwer</cp:lastModifiedBy>
  <cp:revision>12</cp:revision>
  <dcterms:created xsi:type="dcterms:W3CDTF">2019-04-19T14:07:46Z</dcterms:created>
  <dcterms:modified xsi:type="dcterms:W3CDTF">2019-04-21T09:34:48Z</dcterms:modified>
</cp:coreProperties>
</file>